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40" d="100"/>
          <a:sy n="140" d="100"/>
        </p:scale>
        <p:origin x="-6498" y="-84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6BEDC21-BEB0-4F60-9F1C-792B4835295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0E7C76D4-A0AA-4C98-9D58-56E55AC802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AE1B67FE-0BCC-4E39-90D2-C1B40063C8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73C00F3B-D594-403E-B8ED-CCD1EDA70B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7</c:v>
                </c:pt>
                <c:pt idx="1">
                  <c:v>0.36</c:v>
                </c:pt>
                <c:pt idx="2">
                  <c:v>0.31</c:v>
                </c:pt>
                <c:pt idx="3">
                  <c:v>0.0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7%</c:v>
                  </c:pt>
                  <c:pt idx="1">
                    <c:v>36%</c:v>
                  </c:pt>
                  <c:pt idx="2">
                    <c:v>31%</c:v>
                  </c:pt>
                  <c:pt idx="3">
                    <c:v>6%</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34EFE042-8074-4FAD-BC56-DB5541224D6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44ABB4EB-DA37-44A0-9F28-45AEFBEF05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6D7A4583-5454-4A48-809A-8C2EB8DB59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C61DCEBF-9C34-44EE-92FA-DE23D63F58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7</c:v>
                </c:pt>
                <c:pt idx="2">
                  <c:v>0.53</c:v>
                </c:pt>
                <c:pt idx="3">
                  <c:v>0.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7%</c:v>
                  </c:pt>
                  <c:pt idx="2">
                    <c:v>53%</c:v>
                  </c:pt>
                  <c:pt idx="3">
                    <c:v>30%</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6</c:v>
                </c:pt>
                <c:pt idx="1">
                  <c:v>0.78</c:v>
                </c:pt>
                <c:pt idx="2">
                  <c:v>0.87</c:v>
                </c:pt>
                <c:pt idx="3">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8E420F8D-FFFF-4D8C-894F-04F011E9567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30CD662D-54C6-40AF-899A-30E730CC9C4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597B32A4-6450-47A0-982B-855A18BDD3F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4</c:v>
                </c:pt>
                <c:pt idx="1">
                  <c:v>0.22</c:v>
                </c:pt>
                <c:pt idx="2">
                  <c:v>0.13</c:v>
                </c:pt>
                <c:pt idx="3">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6%</c:v>
                  </c:pt>
                  <c:pt idx="1">
                    <c:v>78%</c:v>
                  </c:pt>
                  <c:pt idx="2">
                    <c:v>87%</c:v>
                  </c:pt>
                  <c:pt idx="3">
                    <c:v>90%</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A471E9FD-3D67-4D1B-A7C0-7519FFD30C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3F203AB6-F79D-401D-99C6-6A42D04390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8E50C6B3-26F7-4758-B6A9-DB868E0F42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1E7C3C1A-7633-46C0-AAFE-DAAF8567B33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2</c:v>
                </c:pt>
                <c:pt idx="1">
                  <c:v>0.7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378E3608-C9D3-49A5-9E45-A016D77471D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E1E8836F-D0A3-4E78-8498-1CD1590AE0E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215E47AE-490A-42A6-A619-CEEE1BD04C5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2E1E61B4-1C1B-4E6F-B2DB-32C6902D829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8</c:v>
                </c:pt>
                <c:pt idx="1">
                  <c:v>0.2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79%</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343D7B73-468A-4E0D-A22E-EA8C24433E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332A0932-7630-4B1B-BE2B-39FBF83058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0%</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90%</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5</c:v>
                </c:pt>
                <c:pt idx="1">
                  <c:v>0.89</c:v>
                </c:pt>
                <c:pt idx="2">
                  <c:v>0.86</c:v>
                </c:pt>
                <c:pt idx="3">
                  <c:v>0.91</c:v>
                </c:pt>
                <c:pt idx="4">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63E80C3B-8A17-4DA0-A3E7-3AB677368C8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1673D2D0-812D-44AA-9C3F-387D8F79FE4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B84A7836-012F-4466-8C9E-D447856A9BD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5C32815D-2F90-4C07-9F6A-F2E9BBDAC0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5</c:v>
                </c:pt>
                <c:pt idx="1">
                  <c:v>0.11</c:v>
                </c:pt>
                <c:pt idx="2">
                  <c:v>0.14000000000000001</c:v>
                </c:pt>
                <c:pt idx="3">
                  <c:v>0.09</c:v>
                </c:pt>
                <c:pt idx="4">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5%</c:v>
                  </c:pt>
                  <c:pt idx="1">
                    <c:v>89%</c:v>
                  </c:pt>
                  <c:pt idx="2">
                    <c:v>86%</c:v>
                  </c:pt>
                  <c:pt idx="3">
                    <c:v>91%</c:v>
                  </c:pt>
                  <c:pt idx="4">
                    <c:v>86%</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4</c:v>
                </c:pt>
                <c:pt idx="2">
                  <c:v>0.91</c:v>
                </c:pt>
                <c:pt idx="3">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D93ADB1E-E0AD-4998-88D6-491D444A9C1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C6BE197D-0950-4591-B7BB-33F83CF4568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65F427AC-E730-4DAF-A698-FD1EDD2D01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6</c:v>
                </c:pt>
                <c:pt idx="2">
                  <c:v>0.09</c:v>
                </c:pt>
                <c:pt idx="3">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4%</c:v>
                  </c:pt>
                  <c:pt idx="2">
                    <c:v>91%</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94</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8F4EA555-D60B-45D6-BFFA-7069A75BE5A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5D856F8F-0C2C-41DA-940E-F5E17B713A0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71D2D8C3-31DF-4E0D-9F57-79E19AFE28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38225FB4-9CAE-4365-B520-ED86516AEA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06</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c:v>
                  </c:pt>
                  <c:pt idx="2">
                    <c:v>94%</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93</c:v>
                </c:pt>
                <c:pt idx="1">
                  <c:v>0.87</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EAF3D62C-360F-4E53-B8AD-5F4DCFC7456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0A87CB7D-C670-419E-A5AE-6E774132E3F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80462D44-1AEB-4CE8-8516-EDA632B8F6E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871E4CFC-1E98-438D-8339-FB5B14D8DC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7.0000000000000007E-2</c:v>
                </c:pt>
                <c:pt idx="1">
                  <c:v>0.13</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3%</c:v>
                  </c:pt>
                  <c:pt idx="1">
                    <c:v>87%</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82F4D8D8-0A09-4DCB-995E-4B97F7F939F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2FE841E4-3317-4DD5-BA81-F865C7FEE2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92</c:v>
                </c:pt>
                <c:pt idx="2">
                  <c:v>1</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2</c:v>
                </c:pt>
                <c:pt idx="1">
                  <c:v>6</c:v>
                </c:pt>
                <c:pt idx="2">
                  <c:v>2</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1FB94AC7-98C1-46D4-AFC3-1CC1EC6791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BEC2B934-11AC-4E61-8C25-EEBE6B15D4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62B88453-02AA-4360-BB7E-9942AA149D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4A77CD6E-419B-4BA1-884A-846B69A38D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D9398ED6-84BF-4E1C-8833-960DF9245D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1C24F2C6-4829-4D3D-8214-7E44A61D42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6</c:v>
                </c:pt>
                <c:pt idx="2">
                  <c:v>3</c:v>
                </c:pt>
                <c:pt idx="3">
                  <c:v>1</c:v>
                </c:pt>
                <c:pt idx="4">
                  <c:v>1</c:v>
                </c:pt>
                <c:pt idx="5">
                  <c:v>2</c:v>
                </c:pt>
                <c:pt idx="6">
                  <c:v>3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4%</c:v>
                  </c:pt>
                  <c:pt idx="1">
                    <c:v>6%</c:v>
                  </c:pt>
                  <c:pt idx="2">
                    <c:v>3%</c:v>
                  </c:pt>
                  <c:pt idx="3">
                    <c:v>1%</c:v>
                  </c:pt>
                  <c:pt idx="4">
                    <c:v>1%</c:v>
                  </c:pt>
                  <c:pt idx="5">
                    <c:v>2%</c:v>
                  </c:pt>
                  <c:pt idx="6">
                    <c:v>38%</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84E3D508-AD7B-4A85-B866-86E4675079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fld id="{B71793AE-6C9E-48C5-AED4-3017CB3375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9A80AF15-28E6-4745-A0A7-DEC73BEC37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386547CE-9974-4809-9E39-C0767CA17B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781298E5-E803-441C-9B2A-F9411919AA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5</c:v>
                </c:pt>
                <c:pt idx="1">
                  <c:v>7</c:v>
                </c:pt>
                <c:pt idx="2">
                  <c:v>1</c:v>
                </c:pt>
                <c:pt idx="3">
                  <c:v>4</c:v>
                </c:pt>
                <c:pt idx="4">
                  <c:v>15</c:v>
                </c:pt>
                <c:pt idx="5">
                  <c:v>3</c:v>
                </c:pt>
                <c:pt idx="6">
                  <c:v>2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5%</c:v>
                  </c:pt>
                  <c:pt idx="1">
                    <c:v>7%</c:v>
                  </c:pt>
                  <c:pt idx="2">
                    <c:v>1%q</c:v>
                  </c:pt>
                  <c:pt idx="3">
                    <c:v>4%</c:v>
                  </c:pt>
                  <c:pt idx="4">
                    <c:v>15%</c:v>
                  </c:pt>
                  <c:pt idx="5">
                    <c:v>3%</c:v>
                  </c:pt>
                  <c:pt idx="6">
                    <c:v>29%</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4C5E69B5-70A0-43C1-BF82-0F1B6ABC31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AE1A56BA-6914-4B8F-A7AD-B75BF9A5DE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E6729847-DDC8-4B5D-AE60-7D2033487D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0E9E9816-D773-43A7-93C4-BF5CDE849E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3%</c:v>
                  </c:pt>
                  <c:pt idx="1">
                    <c:v>87%</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6FF6A785-7C60-4224-8A42-F89CAB63E0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ACFDFEB3-CA9F-4DB9-BDD7-F8BD5A872B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64B52A07-ABE1-4971-A25B-8ED693F389D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6CA97BEC-A382-48BF-A45E-6AB2DBB835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72DBF54D-150A-4EB2-B377-8A21B64671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D7B92414-7782-470D-A917-D4AF79CFC0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59776520-6CC4-485E-A0B3-EEA46D561A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999999999999995</c:v>
                </c:pt>
                <c:pt idx="1">
                  <c:v>0.42</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7%</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C4418ADB-1778-4B49-A30E-D91F211CA74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466B904C-455E-4E06-A930-950705B112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BEDC0471-DCFD-490D-A914-9FDCA7C5F4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B4A451DD-58F6-4716-833B-E29BFB3F8E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E28A21E9-7B2A-48C1-80A4-6948DE57D5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6</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4%</c:v>
                  </c:pt>
                  <c:pt idx="1">
                    <c:v>46%</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5EFAF6CA-4C49-4EEC-8042-24E92AF6C8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3ED02D63-50C0-43E9-AF56-98F4052216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5</c:v>
                </c:pt>
                <c:pt idx="1">
                  <c:v>7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5%</c:v>
                  </c:pt>
                  <c:pt idx="1">
                    <c:v>75%</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CD9E050A-6C50-428E-B413-903BB8C61F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E6A4B371-B693-4585-939D-A69DB87125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c:v>
                  </c:pt>
                  <c:pt idx="1">
                    <c:v>95%</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82BC837C-7F08-4117-96D3-B369170529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DE2AEDB4-1157-44BA-A56A-9B2F22296A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DAA7563A-2953-4791-AC58-23D066D726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4BD05078-6DEF-4EE8-BF24-052AC2DDD3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F339D447-3689-43AD-BB0D-4F5A8CBD8E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D709BD1B-6D13-418B-9757-56F6AD9E89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F8547CBB-D833-4849-8A89-E5CEFF0AF2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3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AE1DA5C4-A96C-46FF-8E42-5FCA72AD17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3</c:v>
                </c:pt>
                <c:pt idx="1">
                  <c:v>92</c:v>
                </c:pt>
                <c:pt idx="2">
                  <c:v>83</c:v>
                </c:pt>
                <c:pt idx="3">
                  <c:v>72</c:v>
                </c:pt>
                <c:pt idx="4">
                  <c:v>91</c:v>
                </c:pt>
                <c:pt idx="5">
                  <c:v>37</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3%</c:v>
                  </c:pt>
                  <c:pt idx="1">
                    <c:v>92%</c:v>
                  </c:pt>
                  <c:pt idx="2">
                    <c:v>83%</c:v>
                  </c:pt>
                  <c:pt idx="3">
                    <c:v>72%</c:v>
                  </c:pt>
                  <c:pt idx="4">
                    <c:v>91%</c:v>
                  </c:pt>
                  <c:pt idx="5">
                    <c:v>37%p</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C191282B-203C-43D8-A28D-CDCAFB9EC3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99AD0C60-4FA8-4E55-B275-AA99830E36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B2645847-1323-46A2-BC7B-828EBA454C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9C066890-F815-4B9E-9498-E4C306FC44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7F98CFCC-5B71-4F36-BB62-A8FA4E76EF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6EF4CE37-7E4D-4A42-A4B6-7BCCFB7F93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E35EBED9-04AC-4373-A536-66283D89C7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4</c:v>
                </c:pt>
                <c:pt idx="1">
                  <c:v>87</c:v>
                </c:pt>
                <c:pt idx="2">
                  <c:v>73</c:v>
                </c:pt>
                <c:pt idx="3">
                  <c:v>69</c:v>
                </c:pt>
                <c:pt idx="4">
                  <c:v>91</c:v>
                </c:pt>
                <c:pt idx="5">
                  <c:v>48</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4%</c:v>
                  </c:pt>
                  <c:pt idx="1">
                    <c:v>87%</c:v>
                  </c:pt>
                  <c:pt idx="2">
                    <c:v>73%</c:v>
                  </c:pt>
                  <c:pt idx="3">
                    <c:v>69%</c:v>
                  </c:pt>
                  <c:pt idx="4">
                    <c:v>91%</c:v>
                  </c:pt>
                  <c:pt idx="5">
                    <c:v>48%</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3</c:v>
                </c:pt>
                <c:pt idx="1">
                  <c:v>34</c:v>
                </c:pt>
                <c:pt idx="2">
                  <c:v>10</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2</c:v>
                </c:pt>
                <c:pt idx="1">
                  <c:v>31</c:v>
                </c:pt>
                <c:pt idx="2">
                  <c:v>17</c:v>
                </c:pt>
                <c:pt idx="3">
                  <c:v>6</c:v>
                </c:pt>
                <c:pt idx="4">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04072C2E-2AA8-4805-ADE5-70B75271525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06D96077-0A18-44C0-98D5-6E2FC223B8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E7C15541-EA30-4065-81F6-5A401D0F98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4AA0D7D0-6B81-4CA1-8B49-D0F97A507D3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7708347B-C4EC-4E18-A2D5-A52D24F841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7543369C-1BFE-4235-A323-80C09082A0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c:v>
                </c:pt>
                <c:pt idx="1">
                  <c:v>18</c:v>
                </c:pt>
                <c:pt idx="2">
                  <c:v>7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36</c:v>
                </c:pt>
                <c:pt idx="2">
                  <c:v>5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17</c:v>
                </c:pt>
                <c:pt idx="2">
                  <c:v>29</c:v>
                </c:pt>
                <c:pt idx="3">
                  <c:v>15</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28</c:v>
                </c:pt>
                <c:pt idx="2">
                  <c:v>19</c:v>
                </c:pt>
                <c:pt idx="3">
                  <c:v>14</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22600000000000001</c:v>
                </c:pt>
                <c:pt idx="1">
                  <c:v>0.20599999999999999</c:v>
                </c:pt>
                <c:pt idx="2">
                  <c:v>0.157</c:v>
                </c:pt>
                <c:pt idx="3">
                  <c:v>0.19400000000000001</c:v>
                </c:pt>
                <c:pt idx="4">
                  <c:v>0.21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26</c:v>
                </c:pt>
                <c:pt idx="1">
                  <c:v>0.185</c:v>
                </c:pt>
                <c:pt idx="2">
                  <c:v>0.20599999999999999</c:v>
                </c:pt>
                <c:pt idx="3">
                  <c:v>0.183</c:v>
                </c:pt>
                <c:pt idx="4">
                  <c:v>0.165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9</c:v>
                </c:pt>
                <c:pt idx="2">
                  <c:v>30</c:v>
                </c:pt>
                <c:pt idx="3">
                  <c:v>18</c:v>
                </c:pt>
                <c:pt idx="4">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22</c:v>
                </c:pt>
                <c:pt idx="2">
                  <c:v>23</c:v>
                </c:pt>
                <c:pt idx="3">
                  <c:v>19</c:v>
                </c:pt>
                <c:pt idx="4">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20</c:v>
                </c:pt>
                <c:pt idx="2">
                  <c:v>28</c:v>
                </c:pt>
                <c:pt idx="3">
                  <c:v>17</c:v>
                </c:pt>
                <c:pt idx="4">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2</c:v>
                </c:pt>
                <c:pt idx="1">
                  <c:v>34</c:v>
                </c:pt>
                <c:pt idx="2">
                  <c:v>15</c:v>
                </c:pt>
                <c:pt idx="3">
                  <c:v>10</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0DE60558-B4C9-4215-BAD9-5E334CF51A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D5EC540E-0249-4253-B40C-856AFA9721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7D16C2BF-D59A-4CDC-85FD-9AF21FB8EE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CAE2DA6F-2382-438A-90AA-CC8411AE39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A13B9416-48E9-4C46-8E04-5D38490A27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3</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3%</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B6D7B93E-DE45-44DB-8911-C03CE27DA67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2159B111-79F3-46A6-88D3-DB590FCC88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8C15D8AA-C0A8-41A4-844D-850B0D74B6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D1E023C4-7983-401F-B002-9307537DF0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E6870626-CEB9-4D40-8EB6-720931B14B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8</c:v>
                </c:pt>
                <c:pt idx="1">
                  <c:v>0</c:v>
                </c:pt>
                <c:pt idx="2">
                  <c:v>0.08</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88%</c:v>
                  </c:pt>
                  <c:pt idx="1">
                    <c:v>-</c:v>
                  </c:pt>
                  <c:pt idx="2">
                    <c:v>8%</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9</c:v>
                </c:pt>
                <c:pt idx="2">
                  <c:v>29</c:v>
                </c:pt>
                <c:pt idx="3">
                  <c:v>19</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7</c:v>
                </c:pt>
                <c:pt idx="2">
                  <c:v>24</c:v>
                </c:pt>
                <c:pt idx="3">
                  <c:v>21</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2</c:v>
                </c:pt>
                <c:pt idx="1">
                  <c:v>29</c:v>
                </c:pt>
                <c:pt idx="2">
                  <c:v>34</c:v>
                </c:pt>
                <c:pt idx="3">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4</c:v>
                </c:pt>
                <c:pt idx="1">
                  <c:v>39</c:v>
                </c:pt>
                <c:pt idx="2">
                  <c:v>28</c:v>
                </c:pt>
                <c:pt idx="3">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9</c:v>
                </c:pt>
                <c:pt idx="1">
                  <c:v>34</c:v>
                </c:pt>
                <c:pt idx="2">
                  <c:v>12</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8</c:v>
                </c:pt>
                <c:pt idx="1">
                  <c:v>24</c:v>
                </c:pt>
                <c:pt idx="2">
                  <c:v>4</c:v>
                </c:pt>
                <c:pt idx="3">
                  <c:v>2</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49</c:v>
                </c:pt>
                <c:pt idx="2">
                  <c:v>14</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1</c:v>
                </c:pt>
                <c:pt idx="2">
                  <c:v>14</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B646E6A6-2883-4FE9-8237-8D494C3188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71E528EA-DD56-4EE9-BB18-811EF9C1AB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7B23ABDD-07FC-44CD-940A-497F7102E8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26ECFC5F-570C-4F00-92C0-A3B1490722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C7A5E421-F2F4-4C61-8EE8-81D1BC0C72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06BD8557-38C9-4A3C-B9F1-0C75D31F65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945FDC75-5100-4696-90CE-7165752C92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EAC648B6-2232-408E-B0EC-2B469AA693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1%</c:v>
                  </c:pt>
                  <c:pt idx="1">
                    <c:v>29%</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E31F7D3C-6241-4901-ACAD-FD259D5F12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2F1209FA-B5B6-47FA-80D6-3119C742FE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434C2125-CC97-465B-B8F1-B1F929A94C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AA7159CB-E444-4D97-8861-A47512BEA6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B080016D-145A-48A3-873F-98A5D0CD56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FF32235C-EB78-416B-AF93-4FFE0B9289D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8%</c:v>
                  </c:pt>
                  <c:pt idx="1">
                    <c:v>52%</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CF45127C-76E1-49C7-86EA-31723BF898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020D82E5-81CA-4304-A458-389F61E9B5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9</c:v>
                </c:pt>
                <c:pt idx="1">
                  <c:v>7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9%</c:v>
                  </c:pt>
                  <c:pt idx="1">
                    <c:v>71%</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2EC9A30F-A1E8-49EE-838C-024F234647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B7E027D4-DE02-4CCB-BE15-58351766EA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c:v>
                  </c:pt>
                  <c:pt idx="1">
                    <c:v>15%</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B37C6ECA-7D76-41BB-A977-ED7767DAFD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7DBD3A8E-06DF-4096-AE93-E085FC2D6B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FAEB5B5E-535B-41F1-AAB0-4B13E9831D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6</c:v>
                </c:pt>
                <c:pt idx="1">
                  <c:v>3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6%</c:v>
                  </c:pt>
                  <c:pt idx="1">
                    <c:v>34%</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12FD89A3-E3EA-45DB-9EEF-DE19F40A51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87100B2E-0F87-4509-9BF4-0A5009AC45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C7481660-3DF4-44A4-812A-4D1D68063D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337029F6-D667-4DE0-A1C0-A3F2F0AAFF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F9544035-1B9B-49EA-9DF7-FDFAF2C7D8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BE18A8E9-6314-4BA5-91DE-598676F573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7</c:v>
                </c:pt>
                <c:pt idx="1">
                  <c:v>32</c:v>
                </c:pt>
                <c:pt idx="2">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2</c:v>
                </c:pt>
                <c:pt idx="1">
                  <c:v>47</c:v>
                </c:pt>
                <c:pt idx="2">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B9DF06B2-5CFB-423B-ACCE-73B2A29BB7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F849B094-350B-43F8-90B3-F8EC259A77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BC06C6CD-D363-402D-A216-D68B865A3D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F90BDF41-E7F5-4A08-8E8F-E5DB785B44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33B3849C-863B-4B05-AD4A-38B2741A83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9EE38F50-1E55-42E5-8C5E-9EC4E52D2D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7</c:v>
                </c:pt>
                <c:pt idx="1">
                  <c:v>6</c:v>
                </c:pt>
                <c:pt idx="2">
                  <c:v>59</c:v>
                </c:pt>
                <c:pt idx="3">
                  <c:v>29</c:v>
                </c:pt>
                <c:pt idx="4">
                  <c:v>18</c:v>
                </c:pt>
                <c:pt idx="5">
                  <c:v>19</c:v>
                </c:pt>
                <c:pt idx="6">
                  <c:v>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7%</c:v>
                  </c:pt>
                  <c:pt idx="1">
                    <c:v>6%</c:v>
                  </c:pt>
                  <c:pt idx="2">
                    <c:v>59%</c:v>
                  </c:pt>
                  <c:pt idx="3">
                    <c:v>29%</c:v>
                  </c:pt>
                  <c:pt idx="4">
                    <c:v>18%</c:v>
                  </c:pt>
                  <c:pt idx="5">
                    <c:v>19%</c:v>
                  </c:pt>
                  <c:pt idx="6">
                    <c:v>5%</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3453350D-9009-435E-B539-6FFD5380A7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5A45D4CB-05F8-409D-B73F-6B0423DB12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14FFA948-6249-4462-B658-A870EE226C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C3F319E3-5ACF-4C51-9A07-10BAC54AB3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9C7CDCBD-B0FB-4C4C-BBFB-C16C56E000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E61BA805-1AFF-4C08-BD6F-881B68E458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0</c:v>
                </c:pt>
                <c:pt idx="1">
                  <c:v>17</c:v>
                </c:pt>
                <c:pt idx="2">
                  <c:v>34</c:v>
                </c:pt>
                <c:pt idx="3">
                  <c:v>46</c:v>
                </c:pt>
                <c:pt idx="4">
                  <c:v>4</c:v>
                </c:pt>
                <c:pt idx="5">
                  <c:v>16</c:v>
                </c:pt>
                <c:pt idx="6">
                  <c:v>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30%</c:v>
                  </c:pt>
                  <c:pt idx="1">
                    <c:v>17%</c:v>
                  </c:pt>
                  <c:pt idx="2">
                    <c:v>34%</c:v>
                  </c:pt>
                  <c:pt idx="3">
                    <c:v>46%</c:v>
                  </c:pt>
                  <c:pt idx="4">
                    <c:v>4%</c:v>
                  </c:pt>
                  <c:pt idx="5">
                    <c:v>16%</c:v>
                  </c:pt>
                  <c:pt idx="6">
                    <c:v>8%</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1</c:v>
                </c:pt>
                <c:pt idx="1">
                  <c:v>43</c:v>
                </c:pt>
                <c:pt idx="2">
                  <c:v>4</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40</c:v>
                </c:pt>
                <c:pt idx="2">
                  <c:v>2</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0%</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5</c:v>
                </c:pt>
                <c:pt idx="1">
                  <c:v>0.75</c:v>
                </c:pt>
                <c:pt idx="2">
                  <c:v>0.82</c:v>
                </c:pt>
                <c:pt idx="3">
                  <c:v>0.84</c:v>
                </c:pt>
                <c:pt idx="4">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1638ACA4-BAA1-43B0-86DA-E80EF84200C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A8556160-522B-43C6-BEC6-32E1DC5C1E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61970051-BE69-46B2-8CCB-A6584125C6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2F380863-3F39-41BC-8356-55AD1D7EFE9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5</c:v>
                </c:pt>
                <c:pt idx="1">
                  <c:v>0.25</c:v>
                </c:pt>
                <c:pt idx="2">
                  <c:v>0.18</c:v>
                </c:pt>
                <c:pt idx="3">
                  <c:v>0.16</c:v>
                </c:pt>
                <c:pt idx="4">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5%</c:v>
                  </c:pt>
                  <c:pt idx="1">
                    <c:v>75%</c:v>
                  </c:pt>
                  <c:pt idx="2">
                    <c:v>82%</c:v>
                  </c:pt>
                  <c:pt idx="3">
                    <c:v>84%</c:v>
                  </c:pt>
                  <c:pt idx="4">
                    <c:v>87%</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TAFFORDSHIRE AND STOKE-ON-TRENT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TAFFORDSHIRE AND STOKE-ON-TRENT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TAFFORDSHIRE AND STOKE-ON-TRENT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TAFFORDSHIRE AND STOKE-ON-TRENT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TAFFORDSHIRE AND STOKE-ON-TRENT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STAFFORDSHIRE AND STOKE-ON-TRENT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696822532"/>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smoking status review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5848717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606493983"/>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3376541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TAFFORDSHIRE AND STOKE-ON-TREN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71037701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95058771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2% of respondents who were marked as Type 1 in the sample selected ‘Type 1’, 6%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92% of respondents who were marked as Type 2 in the sample selected ‘Type 2’, 3% selected ‘Type 1’, 1%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02); Type 2, ICS (536)).</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339361211"/>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479138652"/>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548108557"/>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400587510"/>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09427347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1); Type 2, National (19,941), ICS (44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58042060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85204269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46); Type 2, National (22,278), ICS (483))</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95281900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24216988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0); Type 2, National (21,082), ICS (447))</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87555346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14052321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01); Type 2, National (24,180), ICS (534))</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09089573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36343674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486164891"/>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03035860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4843310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83); Type 2, National (22,482), ICS (493))</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21806343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12707296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41926816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98696802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82568322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93791449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55519744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6664306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24834604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88); Type 2, National (22,670), ICS (495))</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59989442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353284384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01315011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41226238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50204861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92430611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3603374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61874628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46895046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99); Type 2, National (24,076), ICS (532))</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62615987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06557111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921397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6167390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42670372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85647638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7932426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08555892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01); Type 2, National (24,153), ICS (530))</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63324039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2156502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8609101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61393013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62826809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2754941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00402572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06163018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76308903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01); Type 2, National (24,135), ICS (53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51316348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54493756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94606683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09697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38725579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66474593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50260887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38356285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422685419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8); Type 2, National (24,084), ICS (53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69668195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85227701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23724127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34453297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5006103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47685686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26062961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6590558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341188080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8); Type 2, National (24,070), ICS (53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408130736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836230100"/>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403584615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866201180"/>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3848506800"/>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69762625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013032201"/>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44572705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76872931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00); Type 2, National (24,260), ICS (53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61920970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77133999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16018354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4061979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76882955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54703340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151959488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84598313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2280700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02); Type 2, National (24,267), ICS (53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16897112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48766133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66530922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35674227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406658945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7813401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00586768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27670836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97728850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01); Type 2, National (24,196), ICS (53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98248071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95158473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72625308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01); Type 2, National (24,019), ICS (52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3322440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42333648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3); Type 2, National (11,860), ICS (254))</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08692811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74159515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88); Type 2, National (21,228), ICS (467))</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72761597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86921038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85); Type 2, National (20,915), ICS (470))</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120746735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64278010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62); Type 2, National (20,086), ICS (437))</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57338126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72506917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6); Type 2, National (21,890), ICS (487))</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57626421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08992025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63); Type 2, National (18,585), ICS (408))</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63572173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60058395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75356753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97324531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07623020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51623874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57643819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97152833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85); Type 2, National (22,580), ICS (500))</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40929726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580643223"/>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687039492"/>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911344858"/>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479269428"/>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4437849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82); Type 2, National (12,350), ICS (285))</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43802429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328774631"/>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65488955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63623355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78368315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6278971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14244495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19640535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92); Type 2, National (10,911), ICS (25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0781345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24277871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334973824"/>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708639444"/>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472195036"/>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72009074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337784763"/>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84))</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62363233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25852602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900634427"/>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936557726"/>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64902105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712137128"/>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94))</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TAFFORDSHIRE AND STOKE-ON-TRENT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461</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42</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8%</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02</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40</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74</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87</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26107381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70648981"/>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4189641310"/>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210775106"/>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191801231"/>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164404573"/>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999584871"/>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TAFFORDSHIRE AND STOKE-ON-TREN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22604300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0140870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54414184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
Participating in a course about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2162056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6</TotalTime>
  <Words>5263</Words>
  <Application>Microsoft Office PowerPoint</Application>
  <PresentationFormat>Widescreen</PresentationFormat>
  <Paragraphs>803</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Barlow</vt:lpstr>
      <vt:lpstr>Arial (Body)</vt:lpstr>
      <vt:lpstr>Arial</vt:lpstr>
      <vt:lpstr>Wingdings 3</vt:lpstr>
      <vt:lpstr>Segoe UI</vt:lpstr>
      <vt:lpstr>HelveticaNeueLT Std Lt Cn</vt:lpstr>
      <vt:lpstr>Wingdings</vt:lpstr>
      <vt:lpstr>Roboto</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4</cp:revision>
  <cp:lastPrinted>2024-09-17T13:37:47Z</cp:lastPrinted>
  <dcterms:created xsi:type="dcterms:W3CDTF">2024-06-17T14:42:21Z</dcterms:created>
  <dcterms:modified xsi:type="dcterms:W3CDTF">2024-12-04T10:2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